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1"/>
  </p:sldMasterIdLst>
  <p:sldIdLst>
    <p:sldId id="261" r:id="rId2"/>
    <p:sldId id="259" r:id="rId3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4" d="100"/>
          <a:sy n="74" d="100"/>
        </p:scale>
        <p:origin x="1013" y="58"/>
      </p:cViewPr>
      <p:guideLst>
        <p:guide orient="horz" pos="2160"/>
        <p:guide pos="38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roslav Zhydyk" userId="feca11449df7c5ed" providerId="LiveId" clId="{40461D8F-DB47-4174-AD17-6DF3F7EAD7A8}"/>
    <pc:docChg chg="undo redo custSel addSld delSld modSld">
      <pc:chgData name="Yaroslav Zhydyk" userId="feca11449df7c5ed" providerId="LiveId" clId="{40461D8F-DB47-4174-AD17-6DF3F7EAD7A8}" dt="2022-11-12T16:12:30.618" v="41" actId="1036"/>
      <pc:docMkLst>
        <pc:docMk/>
      </pc:docMkLst>
      <pc:sldChg chg="del">
        <pc:chgData name="Yaroslav Zhydyk" userId="feca11449df7c5ed" providerId="LiveId" clId="{40461D8F-DB47-4174-AD17-6DF3F7EAD7A8}" dt="2022-11-11T15:42:40.170" v="1" actId="47"/>
        <pc:sldMkLst>
          <pc:docMk/>
          <pc:sldMk cId="3493935180" sldId="256"/>
        </pc:sldMkLst>
      </pc:sldChg>
      <pc:sldChg chg="del">
        <pc:chgData name="Yaroslav Zhydyk" userId="feca11449df7c5ed" providerId="LiveId" clId="{40461D8F-DB47-4174-AD17-6DF3F7EAD7A8}" dt="2022-11-11T15:42:40.170" v="1" actId="47"/>
        <pc:sldMkLst>
          <pc:docMk/>
          <pc:sldMk cId="2207511441" sldId="257"/>
        </pc:sldMkLst>
      </pc:sldChg>
      <pc:sldChg chg="del">
        <pc:chgData name="Yaroslav Zhydyk" userId="feca11449df7c5ed" providerId="LiveId" clId="{40461D8F-DB47-4174-AD17-6DF3F7EAD7A8}" dt="2022-11-12T16:11:24.136" v="7" actId="47"/>
        <pc:sldMkLst>
          <pc:docMk/>
          <pc:sldMk cId="428792147" sldId="258"/>
        </pc:sldMkLst>
      </pc:sldChg>
      <pc:sldChg chg="modSp add del mod">
        <pc:chgData name="Yaroslav Zhydyk" userId="feca11449df7c5ed" providerId="LiveId" clId="{40461D8F-DB47-4174-AD17-6DF3F7EAD7A8}" dt="2022-11-12T16:12:30.618" v="41" actId="1036"/>
        <pc:sldMkLst>
          <pc:docMk/>
          <pc:sldMk cId="2026111613" sldId="259"/>
        </pc:sldMkLst>
        <pc:spChg chg="mod">
          <ac:chgData name="Yaroslav Zhydyk" userId="feca11449df7c5ed" providerId="LiveId" clId="{40461D8F-DB47-4174-AD17-6DF3F7EAD7A8}" dt="2022-11-12T16:12:24.557" v="35" actId="207"/>
          <ac:spMkLst>
            <pc:docMk/>
            <pc:sldMk cId="2026111613" sldId="259"/>
            <ac:spMk id="2" creationId="{5D49FC6B-CE50-CC69-7152-4E3ED422AF9F}"/>
          </ac:spMkLst>
        </pc:spChg>
        <pc:picChg chg="mod">
          <ac:chgData name="Yaroslav Zhydyk" userId="feca11449df7c5ed" providerId="LiveId" clId="{40461D8F-DB47-4174-AD17-6DF3F7EAD7A8}" dt="2022-11-12T16:12:30.618" v="41" actId="1036"/>
          <ac:picMkLst>
            <pc:docMk/>
            <pc:sldMk cId="2026111613" sldId="259"/>
            <ac:picMk id="1026" creationId="{45DB58EF-8EF9-91C3-F836-CD10DA391491}"/>
          </ac:picMkLst>
        </pc:picChg>
      </pc:sldChg>
      <pc:sldChg chg="delSp modSp add mod">
        <pc:chgData name="Yaroslav Zhydyk" userId="feca11449df7c5ed" providerId="LiveId" clId="{40461D8F-DB47-4174-AD17-6DF3F7EAD7A8}" dt="2022-11-12T16:12:00.631" v="26" actId="20577"/>
        <pc:sldMkLst>
          <pc:docMk/>
          <pc:sldMk cId="980141862" sldId="261"/>
        </pc:sldMkLst>
        <pc:spChg chg="mod">
          <ac:chgData name="Yaroslav Zhydyk" userId="feca11449df7c5ed" providerId="LiveId" clId="{40461D8F-DB47-4174-AD17-6DF3F7EAD7A8}" dt="2022-11-12T16:12:00.631" v="26" actId="20577"/>
          <ac:spMkLst>
            <pc:docMk/>
            <pc:sldMk cId="980141862" sldId="261"/>
            <ac:spMk id="2" creationId="{68D5F1BF-947A-0F44-F59A-88E76FEA875F}"/>
          </ac:spMkLst>
        </pc:spChg>
        <pc:spChg chg="del">
          <ac:chgData name="Yaroslav Zhydyk" userId="feca11449df7c5ed" providerId="LiveId" clId="{40461D8F-DB47-4174-AD17-6DF3F7EAD7A8}" dt="2022-11-12T16:11:18.744" v="6" actId="478"/>
          <ac:spMkLst>
            <pc:docMk/>
            <pc:sldMk cId="980141862" sldId="261"/>
            <ac:spMk id="5" creationId="{20E954A4-5C4C-00E3-05C6-B5874033F7EE}"/>
          </ac:spMkLst>
        </pc:spChg>
        <pc:spChg chg="mod">
          <ac:chgData name="Yaroslav Zhydyk" userId="feca11449df7c5ed" providerId="LiveId" clId="{40461D8F-DB47-4174-AD17-6DF3F7EAD7A8}" dt="2022-11-12T16:11:29.660" v="9" actId="20577"/>
          <ac:spMkLst>
            <pc:docMk/>
            <pc:sldMk cId="980141862" sldId="261"/>
            <ac:spMk id="6" creationId="{5FE7DACE-6813-BF9B-659A-4293B74087FE}"/>
          </ac:spMkLst>
        </pc:spChg>
        <pc:spChg chg="mod">
          <ac:chgData name="Yaroslav Zhydyk" userId="feca11449df7c5ed" providerId="LiveId" clId="{40461D8F-DB47-4174-AD17-6DF3F7EAD7A8}" dt="2022-11-12T16:11:38.107" v="13" actId="20577"/>
          <ac:spMkLst>
            <pc:docMk/>
            <pc:sldMk cId="980141862" sldId="261"/>
            <ac:spMk id="7" creationId="{5AFFE72B-B4B5-0580-154F-C04392A07F3D}"/>
          </ac:spMkLst>
        </pc:spChg>
        <pc:spChg chg="mod">
          <ac:chgData name="Yaroslav Zhydyk" userId="feca11449df7c5ed" providerId="LiveId" clId="{40461D8F-DB47-4174-AD17-6DF3F7EAD7A8}" dt="2022-11-12T16:11:44.157" v="19" actId="20577"/>
          <ac:spMkLst>
            <pc:docMk/>
            <pc:sldMk cId="980141862" sldId="261"/>
            <ac:spMk id="9" creationId="{D3A82A5F-CA17-2B7C-F634-E59E1BF90B0E}"/>
          </ac:spMkLst>
        </pc:spChg>
        <pc:spChg chg="mod">
          <ac:chgData name="Yaroslav Zhydyk" userId="feca11449df7c5ed" providerId="LiveId" clId="{40461D8F-DB47-4174-AD17-6DF3F7EAD7A8}" dt="2022-11-12T16:11:40.077" v="15" actId="20577"/>
          <ac:spMkLst>
            <pc:docMk/>
            <pc:sldMk cId="980141862" sldId="261"/>
            <ac:spMk id="12" creationId="{990FB24F-163A-4FA8-0EA2-320C39A2A8C6}"/>
          </ac:spMkLst>
        </pc:spChg>
        <pc:spChg chg="mod">
          <ac:chgData name="Yaroslav Zhydyk" userId="feca11449df7c5ed" providerId="LiveId" clId="{40461D8F-DB47-4174-AD17-6DF3F7EAD7A8}" dt="2022-11-12T16:11:42.168" v="17" actId="20577"/>
          <ac:spMkLst>
            <pc:docMk/>
            <pc:sldMk cId="980141862" sldId="261"/>
            <ac:spMk id="13" creationId="{CA70F889-CBA8-64C9-3A37-80280E176B9C}"/>
          </ac:spMkLst>
        </pc:spChg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3697585423" sldId="262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1459978241" sldId="263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4281346370" sldId="264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054141819" sldId="265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4239559072" sldId="266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123818777" sldId="267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3660149555" sldId="268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53468291" sldId="269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440313229" sldId="270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212018165" sldId="271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302708643" sldId="272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3155850426" sldId="273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51062607" sldId="274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3539850750" sldId="275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3178536844" sldId="276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1542407537" sldId="277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557991748" sldId="278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3377724400" sldId="279"/>
        </pc:sldMkLst>
      </pc:sldChg>
      <pc:sldChg chg="add del">
        <pc:chgData name="Yaroslav Zhydyk" userId="feca11449df7c5ed" providerId="LiveId" clId="{40461D8F-DB47-4174-AD17-6DF3F7EAD7A8}" dt="2022-11-11T15:42:53.598" v="2" actId="2696"/>
        <pc:sldMkLst>
          <pc:docMk/>
          <pc:sldMk cId="2739368048" sldId="280"/>
        </pc:sldMkLst>
      </pc:sldChg>
      <pc:sldMasterChg chg="delSldLayout">
        <pc:chgData name="Yaroslav Zhydyk" userId="feca11449df7c5ed" providerId="LiveId" clId="{40461D8F-DB47-4174-AD17-6DF3F7EAD7A8}" dt="2022-11-11T15:42:53.598" v="2" actId="2696"/>
        <pc:sldMasterMkLst>
          <pc:docMk/>
          <pc:sldMasterMk cId="1709005174" sldId="2147483663"/>
        </pc:sldMasterMkLst>
        <pc:sldLayoutChg chg="del">
          <pc:chgData name="Yaroslav Zhydyk" userId="feca11449df7c5ed" providerId="LiveId" clId="{40461D8F-DB47-4174-AD17-6DF3F7EAD7A8}" dt="2022-11-11T15:42:53.598" v="2" actId="2696"/>
          <pc:sldLayoutMkLst>
            <pc:docMk/>
            <pc:sldMasterMk cId="1709005174" sldId="2147483663"/>
            <pc:sldLayoutMk cId="615811165" sldId="2147483675"/>
          </pc:sldLayoutMkLst>
        </pc:sldLayoutChg>
      </pc:sldMasterChg>
    </pc:docChg>
  </pc:docChgLst>
  <pc:docChgLst>
    <pc:chgData name="Yaroslav Zhydyk" userId="feca11449df7c5ed" providerId="LiveId" clId="{6F7C5E3E-362B-49B3-B9F7-8D7ACCCFD2D5}"/>
    <pc:docChg chg="custSel modSld">
      <pc:chgData name="Yaroslav Zhydyk" userId="feca11449df7c5ed" providerId="LiveId" clId="{6F7C5E3E-362B-49B3-B9F7-8D7ACCCFD2D5}" dt="2023-09-09T08:06:45.661" v="0" actId="478"/>
      <pc:docMkLst>
        <pc:docMk/>
      </pc:docMkLst>
      <pc:sldChg chg="delSp mod">
        <pc:chgData name="Yaroslav Zhydyk" userId="feca11449df7c5ed" providerId="LiveId" clId="{6F7C5E3E-362B-49B3-B9F7-8D7ACCCFD2D5}" dt="2023-09-09T08:06:45.661" v="0" actId="478"/>
        <pc:sldMkLst>
          <pc:docMk/>
          <pc:sldMk cId="980141862" sldId="261"/>
        </pc:sldMkLst>
        <pc:picChg chg="del">
          <ac:chgData name="Yaroslav Zhydyk" userId="feca11449df7c5ed" providerId="LiveId" clId="{6F7C5E3E-362B-49B3-B9F7-8D7ACCCFD2D5}" dt="2023-09-09T08:06:45.661" v="0" actId="478"/>
          <ac:picMkLst>
            <pc:docMk/>
            <pc:sldMk cId="980141862" sldId="261"/>
            <ac:picMk id="10" creationId="{D33600C4-DC7C-487F-9416-8C7112432B9A}"/>
          </ac:picMkLst>
        </pc:picChg>
      </pc:sldChg>
    </pc:docChg>
  </pc:docChgLst>
  <pc:docChgLst>
    <pc:chgData name="Yaroslav Zhydyk" userId="feca11449df7c5ed" providerId="LiveId" clId="{186FDB4A-D0D0-446A-9945-6468067BA58C}"/>
    <pc:docChg chg="undo custSel addSld modSld sldOrd modMainMaster replTag">
      <pc:chgData name="Yaroslav Zhydyk" userId="feca11449df7c5ed" providerId="LiveId" clId="{186FDB4A-D0D0-446A-9945-6468067BA58C}" dt="2022-10-29T14:24:47.840" v="1228" actId="408"/>
      <pc:docMkLst>
        <pc:docMk/>
      </pc:docMkLst>
      <pc:sldChg chg="addSp delSp modSp new add mod modClrScheme chgLayout">
        <pc:chgData name="Yaroslav Zhydyk" userId="feca11449df7c5ed" providerId="LiveId" clId="{186FDB4A-D0D0-446A-9945-6468067BA58C}" dt="2022-10-29T13:45:49.971" v="1165" actId="478"/>
        <pc:sldMkLst>
          <pc:docMk/>
          <pc:sldMk cId="3493935180" sldId="256"/>
        </pc:sldMkLst>
        <pc:spChg chg="del mod">
          <ac:chgData name="Yaroslav Zhydyk" userId="feca11449df7c5ed" providerId="LiveId" clId="{186FDB4A-D0D0-446A-9945-6468067BA58C}" dt="2022-10-29T10:41:54.484" v="77" actId="478"/>
          <ac:spMkLst>
            <pc:docMk/>
            <pc:sldMk cId="3493935180" sldId="256"/>
            <ac:spMk id="2" creationId="{41F9EE2C-F2ED-001D-75E5-AC67353D0F9D}"/>
          </ac:spMkLst>
        </pc:spChg>
        <pc:spChg chg="del mod">
          <ac:chgData name="Yaroslav Zhydyk" userId="feca11449df7c5ed" providerId="LiveId" clId="{186FDB4A-D0D0-446A-9945-6468067BA58C}" dt="2022-10-29T10:41:54.484" v="77" actId="478"/>
          <ac:spMkLst>
            <pc:docMk/>
            <pc:sldMk cId="3493935180" sldId="256"/>
            <ac:spMk id="3" creationId="{D05A5FD6-6539-815F-0A66-834A58A64635}"/>
          </ac:spMkLst>
        </pc:spChg>
        <pc:spChg chg="add mod or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5" creationId="{805F823C-4B4D-4EC8-15D7-D1C57874B9C0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6" creationId="{2530C375-BD99-821B-60A5-6BD7DE5BF829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7" creationId="{D6506A5C-8CAE-8044-28B8-28BF7DD3ECF7}"/>
          </ac:spMkLst>
        </pc:spChg>
        <pc:spChg chg="add mod">
          <ac:chgData name="Yaroslav Zhydyk" userId="feca11449df7c5ed" providerId="LiveId" clId="{186FDB4A-D0D0-446A-9945-6468067BA58C}" dt="2022-10-29T12:58:00.690" v="420"/>
          <ac:spMkLst>
            <pc:docMk/>
            <pc:sldMk cId="3493935180" sldId="256"/>
            <ac:spMk id="8" creationId="{7E37A0FC-BEA4-801F-F62E-69D85F1C345E}"/>
          </ac:spMkLst>
        </pc:spChg>
        <pc:spChg chg="add del mod">
          <ac:chgData name="Yaroslav Zhydyk" userId="feca11449df7c5ed" providerId="LiveId" clId="{186FDB4A-D0D0-446A-9945-6468067BA58C}" dt="2022-10-29T13:45:12.241" v="1136" actId="21"/>
          <ac:spMkLst>
            <pc:docMk/>
            <pc:sldMk cId="3493935180" sldId="256"/>
            <ac:spMk id="11" creationId="{374E608F-4A32-BE9A-1A2C-9662490FBD16}"/>
          </ac:spMkLst>
        </pc:spChg>
        <pc:graphicFrameChg chg="add mod ord modVis replST">
          <ac:chgData name="Yaroslav Zhydyk" userId="feca11449df7c5ed" providerId="LiveId" clId="{186FDB4A-D0D0-446A-9945-6468067BA58C}" dt="2022-10-29T12:58:01.262" v="466"/>
          <ac:graphicFrameMkLst>
            <pc:docMk/>
            <pc:sldMk cId="3493935180" sldId="256"/>
            <ac:graphicFrameMk id="4" creationId="{A576AE79-652B-18A8-31D9-28C2BC3EA100}"/>
          </ac:graphicFrameMkLst>
        </pc:graphicFrameChg>
        <pc:picChg chg="add del mod">
          <ac:chgData name="Yaroslav Zhydyk" userId="feca11449df7c5ed" providerId="LiveId" clId="{186FDB4A-D0D0-446A-9945-6468067BA58C}" dt="2022-10-29T13:42:10.540" v="1079" actId="21"/>
          <ac:picMkLst>
            <pc:docMk/>
            <pc:sldMk cId="3493935180" sldId="256"/>
            <ac:picMk id="3" creationId="{1E319040-E3B3-FDB9-6446-9C00523EAB8D}"/>
          </ac:picMkLst>
        </pc:picChg>
        <pc:picChg chg="add del">
          <ac:chgData name="Yaroslav Zhydyk" userId="feca11449df7c5ed" providerId="LiveId" clId="{186FDB4A-D0D0-446A-9945-6468067BA58C}" dt="2022-10-29T13:45:49.971" v="1165" actId="478"/>
          <ac:picMkLst>
            <pc:docMk/>
            <pc:sldMk cId="3493935180" sldId="256"/>
            <ac:picMk id="10" creationId="{1481159F-4219-04A0-53EB-8D7C0454431B}"/>
          </ac:picMkLst>
        </pc:picChg>
      </pc:sldChg>
      <pc:sldChg chg="modSp new add mod">
        <pc:chgData name="Yaroslav Zhydyk" userId="feca11449df7c5ed" providerId="LiveId" clId="{186FDB4A-D0D0-446A-9945-6468067BA58C}" dt="2022-10-29T12:58:00.690" v="420"/>
        <pc:sldMkLst>
          <pc:docMk/>
          <pc:sldMk cId="2207511441" sldId="257"/>
        </pc:sldMkLst>
        <pc:spChg chg="mod">
          <ac:chgData name="Yaroslav Zhydyk" userId="feca11449df7c5ed" providerId="LiveId" clId="{186FDB4A-D0D0-446A-9945-6468067BA58C}" dt="2022-10-29T12:58:00.690" v="420"/>
          <ac:spMkLst>
            <pc:docMk/>
            <pc:sldMk cId="2207511441" sldId="257"/>
            <ac:spMk id="2" creationId="{68D5F1BF-947A-0F44-F59A-88E76FEA875F}"/>
          </ac:spMkLst>
        </pc:spChg>
      </pc:sldChg>
      <pc:sldChg chg="addSp delSp modSp add mod ord">
        <pc:chgData name="Yaroslav Zhydyk" userId="feca11449df7c5ed" providerId="LiveId" clId="{186FDB4A-D0D0-446A-9945-6468067BA58C}" dt="2022-10-29T14:24:47.840" v="1228" actId="408"/>
        <pc:sldMkLst>
          <pc:docMk/>
          <pc:sldMk cId="428792147" sldId="258"/>
        </pc:sldMkLst>
        <pc:spChg chg="mod ord">
          <ac:chgData name="Yaroslav Zhydyk" userId="feca11449df7c5ed" providerId="LiveId" clId="{186FDB4A-D0D0-446A-9945-6468067BA58C}" dt="2022-10-29T14:23:55.999" v="1205" actId="207"/>
          <ac:spMkLst>
            <pc:docMk/>
            <pc:sldMk cId="428792147" sldId="258"/>
            <ac:spMk id="2" creationId="{68D5F1BF-947A-0F44-F59A-88E76FEA875F}"/>
          </ac:spMkLst>
        </pc:spChg>
        <pc:spChg chg="add del mod ord">
          <ac:chgData name="Yaroslav Zhydyk" userId="feca11449df7c5ed" providerId="LiveId" clId="{186FDB4A-D0D0-446A-9945-6468067BA58C}" dt="2022-10-29T14:23:51.720" v="1204" actId="478"/>
          <ac:spMkLst>
            <pc:docMk/>
            <pc:sldMk cId="428792147" sldId="258"/>
            <ac:spMk id="3" creationId="{8B346919-DAEE-F7EC-2BF0-7EB1A174D69C}"/>
          </ac:spMkLst>
        </pc:spChg>
        <pc:spChg chg="add mod">
          <ac:chgData name="Yaroslav Zhydyk" userId="feca11449df7c5ed" providerId="LiveId" clId="{186FDB4A-D0D0-446A-9945-6468067BA58C}" dt="2022-10-29T14:24:27.288" v="1220" actId="2711"/>
          <ac:spMkLst>
            <pc:docMk/>
            <pc:sldMk cId="428792147" sldId="258"/>
            <ac:spMk id="5" creationId="{D366CD11-E393-D3E5-DB17-3B9C346CEB77}"/>
          </ac:spMkLst>
        </pc:spChg>
        <pc:spChg chg="add mod">
          <ac:chgData name="Yaroslav Zhydyk" userId="feca11449df7c5ed" providerId="LiveId" clId="{186FDB4A-D0D0-446A-9945-6468067BA58C}" dt="2022-10-29T14:24:38.645" v="1225" actId="1076"/>
          <ac:spMkLst>
            <pc:docMk/>
            <pc:sldMk cId="428792147" sldId="258"/>
            <ac:spMk id="6" creationId="{DFAB1005-8D50-AF29-16E8-FA7B6ACCE6E2}"/>
          </ac:spMkLst>
        </pc:spChg>
        <pc:spChg chg="add mod">
          <ac:chgData name="Yaroslav Zhydyk" userId="feca11449df7c5ed" providerId="LiveId" clId="{186FDB4A-D0D0-446A-9945-6468067BA58C}" dt="2022-10-29T14:24:47.840" v="1228" actId="408"/>
          <ac:spMkLst>
            <pc:docMk/>
            <pc:sldMk cId="428792147" sldId="258"/>
            <ac:spMk id="7" creationId="{5AFFE72B-B4B5-0580-154F-C04392A07F3D}"/>
          </ac:spMkLst>
        </pc:spChg>
        <pc:spChg chg="add mod">
          <ac:chgData name="Yaroslav Zhydyk" userId="feca11449df7c5ed" providerId="LiveId" clId="{186FDB4A-D0D0-446A-9945-6468067BA58C}" dt="2022-10-29T14:24:47.840" v="1228" actId="408"/>
          <ac:spMkLst>
            <pc:docMk/>
            <pc:sldMk cId="428792147" sldId="258"/>
            <ac:spMk id="8" creationId="{027883F0-7EAA-0455-D502-C3339D5F9FA5}"/>
          </ac:spMkLst>
        </pc:spChg>
        <pc:graphicFrameChg chg="add mod ord modVis replST">
          <ac:chgData name="Yaroslav Zhydyk" userId="feca11449df7c5ed" providerId="LiveId" clId="{186FDB4A-D0D0-446A-9945-6468067BA58C}" dt="2022-10-29T14:23:32.785" v="1194"/>
          <ac:graphicFrameMkLst>
            <pc:docMk/>
            <pc:sldMk cId="428792147" sldId="258"/>
            <ac:graphicFrameMk id="4" creationId="{1B3E4F37-698F-423B-B473-5D927AB99B2E}"/>
          </ac:graphicFrameMkLst>
        </pc:graphicFrameChg>
      </pc:sldChg>
      <pc:sldMasterChg chg="modSp modSldLayout">
        <pc:chgData name="Yaroslav Zhydyk" userId="feca11449df7c5ed" providerId="LiveId" clId="{186FDB4A-D0D0-446A-9945-6468067BA58C}" dt="2022-10-29T10:41:51.829" v="2"/>
        <pc:sldMasterMkLst>
          <pc:docMk/>
          <pc:sldMasterMk cId="3795624097" sldId="2147483648"/>
        </pc:sldMasterMkLst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2" creationId="{EB7F4A28-C3F8-7BA6-0AAD-EC4CBFE57046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3" creationId="{F0F4E320-C360-C960-3537-F3D0024E5DC4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4" creationId="{A3532357-DEFA-43C3-CB9D-BBD282C4AB30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5" creationId="{CEECD19E-5B8F-6B14-830A-A4AC28FF0090}"/>
          </ac:spMkLst>
        </pc:spChg>
        <pc:spChg chg="mod">
          <ac:chgData name="Yaroslav Zhydyk" userId="feca11449df7c5ed" providerId="LiveId" clId="{186FDB4A-D0D0-446A-9945-6468067BA58C}" dt="2022-10-29T10:41:51.829" v="2"/>
          <ac:spMkLst>
            <pc:docMk/>
            <pc:sldMasterMk cId="3795624097" sldId="2147483648"/>
            <ac:spMk id="6" creationId="{C6178E6B-C0FE-D978-E6A7-492E4A134F1F}"/>
          </ac:spMkLst>
        </pc:sp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664675532" sldId="2147483649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664675532" sldId="2147483649"/>
              <ac:spMk id="2" creationId="{25A43727-98C4-2194-E862-01B7FC578864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664675532" sldId="2147483649"/>
              <ac:spMk id="3" creationId="{ABAD685F-33C3-60A4-C5E0-FF2CD8E38D20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698038997" sldId="2147483651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698038997" sldId="2147483651"/>
              <ac:spMk id="2" creationId="{46AC5A00-C259-761F-3797-2AB1E739A5DE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698038997" sldId="2147483651"/>
              <ac:spMk id="3" creationId="{2499BDD0-E535-D395-E6DB-CDD9BFC76B8E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3461048897" sldId="2147483652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3461048897" sldId="2147483652"/>
              <ac:spMk id="3" creationId="{24D2B029-6E9A-0EB1-645F-1FCE725354E9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3461048897" sldId="2147483652"/>
              <ac:spMk id="4" creationId="{7F7ECFF9-2982-9C7A-EA33-8CED6F29E74C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15164135" sldId="2147483653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2" creationId="{CD87CB2C-BAF0-9A06-2C8D-4742BC5FD251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3" creationId="{5580C134-20CC-ECB6-69DD-1888F8643F82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4" creationId="{5D16D0F3-8DFF-F2E3-59F8-F35AB4BB6FCC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5" creationId="{BF80E65E-9F21-0994-103E-CB0E769C572B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15164135" sldId="2147483653"/>
              <ac:spMk id="6" creationId="{5BEAF1C2-376B-1AEB-5202-6A95820C15F4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139042274" sldId="2147483656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2" creationId="{3F6AA4A3-6895-48CE-D4E9-3C430BA73533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3" creationId="{A6D5605A-44AC-8A70-5960-9F18BF2B9556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139042274" sldId="2147483656"/>
              <ac:spMk id="4" creationId="{6BEA10A0-8205-4094-6362-2EEDD8376341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2051874453" sldId="2147483657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2" creationId="{5A288DEF-EB17-246D-EE37-B86099209F7D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3" creationId="{60BE2164-4F49-5539-00F5-33C302BA4588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051874453" sldId="2147483657"/>
              <ac:spMk id="4" creationId="{FEC75D08-24F3-B33F-15C9-902A470D8D34}"/>
            </ac:spMkLst>
          </pc:spChg>
        </pc:sldLayoutChg>
        <pc:sldLayoutChg chg="modSp">
          <pc:chgData name="Yaroslav Zhydyk" userId="feca11449df7c5ed" providerId="LiveId" clId="{186FDB4A-D0D0-446A-9945-6468067BA58C}" dt="2022-10-29T10:41:51.829" v="2"/>
          <pc:sldLayoutMkLst>
            <pc:docMk/>
            <pc:sldMasterMk cId="3795624097" sldId="2147483648"/>
            <pc:sldLayoutMk cId="2452645975" sldId="2147483659"/>
          </pc:sldLayoutMkLst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452645975" sldId="2147483659"/>
              <ac:spMk id="2" creationId="{4BA0C6F9-4475-8900-3BA3-2C499FD959A2}"/>
            </ac:spMkLst>
          </pc:spChg>
          <pc:spChg chg="mod">
            <ac:chgData name="Yaroslav Zhydyk" userId="feca11449df7c5ed" providerId="LiveId" clId="{186FDB4A-D0D0-446A-9945-6468067BA58C}" dt="2022-10-29T10:41:51.829" v="2"/>
            <ac:spMkLst>
              <pc:docMk/>
              <pc:sldMasterMk cId="3795624097" sldId="2147483648"/>
              <pc:sldLayoutMk cId="2452645975" sldId="2147483659"/>
              <ac:spMk id="3" creationId="{6884DD03-3035-D9C8-EF1F-E67290FBB022}"/>
            </ac:spMkLst>
          </pc:spChg>
        </pc:sldLayoutChg>
      </pc:sldMasterChg>
      <pc:sldMasterChg chg="addSp delSp modSp mod addSldLayout delSldLayout modSldLayout">
        <pc:chgData name="Yaroslav Zhydyk" userId="feca11449df7c5ed" providerId="LiveId" clId="{186FDB4A-D0D0-446A-9945-6468067BA58C}" dt="2022-10-29T12:58:00.690" v="420"/>
        <pc:sldMasterMkLst>
          <pc:docMk/>
          <pc:sldMasterMk cId="3463494952" sldId="2147483660"/>
        </pc:sldMasterMkLst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2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3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4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5" creationId="{00000000-0000-0000-0000-000000000000}"/>
          </ac:spMkLst>
        </pc:spChg>
        <pc:spChg chg="mod">
          <ac:chgData name="Yaroslav Zhydyk" userId="feca11449df7c5ed" providerId="LiveId" clId="{186FDB4A-D0D0-446A-9945-6468067BA58C}" dt="2022-10-29T12:58:00.690" v="420"/>
          <ac:spMkLst>
            <pc:docMk/>
            <pc:sldMasterMk cId="3463494952" sldId="2147483660"/>
            <ac:spMk id="6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0:41:52.528" v="60"/>
          <ac:spMkLst>
            <pc:docMk/>
            <pc:sldMasterMk cId="3463494952" sldId="2147483660"/>
            <ac:spMk id="7" creationId="{46820A18-6A29-061F-C96F-0F1B4E866C50}"/>
          </ac:spMkLst>
        </pc:spChg>
        <pc:spChg chg="add del mod modVis">
          <ac:chgData name="Yaroslav Zhydyk" userId="feca11449df7c5ed" providerId="LiveId" clId="{186FDB4A-D0D0-446A-9945-6468067BA58C}" dt="2022-10-29T10:43:55.441" v="169"/>
          <ac:spMkLst>
            <pc:docMk/>
            <pc:sldMasterMk cId="3463494952" sldId="2147483660"/>
            <ac:spMk id="9" creationId="{9173D314-72BC-57BF-8577-622CACCFCF4F}"/>
          </ac:spMkLst>
        </pc:spChg>
        <pc:graphicFrameChg chg="add mod ord modVis replST">
          <ac:chgData name="Yaroslav Zhydyk" userId="feca11449df7c5ed" providerId="LiveId" clId="{186FDB4A-D0D0-446A-9945-6468067BA58C}" dt="2022-10-29T12:58:00.690" v="420"/>
          <ac:graphicFrameMkLst>
            <pc:docMk/>
            <pc:sldMasterMk cId="3463494952" sldId="2147483660"/>
            <ac:graphicFrameMk id="8" creationId="{5A62EAB4-D8CB-5A38-1441-CB67CADBF86E}"/>
          </ac:graphicFrameMkLst>
        </pc:graphicFrameChg>
        <pc:sldLayoutChg chg="addSp delSp modSp mod">
          <pc:chgData name="Yaroslav Zhydyk" userId="feca11449df7c5ed" providerId="LiveId" clId="{186FDB4A-D0D0-446A-9945-6468067BA58C}" dt="2022-10-29T12:58:00.690" v="420"/>
          <pc:sldLayoutMkLst>
            <pc:docMk/>
            <pc:sldMasterMk cId="3463494952" sldId="2147483660"/>
            <pc:sldLayoutMk cId="953478930" sldId="2147483661"/>
          </pc:sldLayoutMkLst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2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3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4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5" creationId="{00000000-0000-0000-0000-000000000000}"/>
            </ac:spMkLst>
          </pc:spChg>
          <pc:spChg chg="del">
            <ac:chgData name="Yaroslav Zhydyk" userId="feca11449df7c5ed" providerId="LiveId" clId="{186FDB4A-D0D0-446A-9945-6468067BA58C}" dt="2022-10-29T10:42:45.917" v="103" actId="478"/>
            <ac:spMkLst>
              <pc:docMk/>
              <pc:sldMasterMk cId="3463494952" sldId="2147483660"/>
              <pc:sldLayoutMk cId="953478930" sldId="2147483661"/>
              <ac:spMk id="6" creationId="{00000000-0000-0000-0000-000000000000}"/>
            </ac:spMkLst>
          </pc:spChg>
          <pc:spChg chg="add del">
            <ac:chgData name="Yaroslav Zhydyk" userId="feca11449df7c5ed" providerId="LiveId" clId="{186FDB4A-D0D0-446A-9945-6468067BA58C}" dt="2022-10-29T10:43:29.638" v="125" actId="11529"/>
            <ac:spMkLst>
              <pc:docMk/>
              <pc:sldMasterMk cId="3463494952" sldId="2147483660"/>
              <pc:sldLayoutMk cId="953478930" sldId="2147483661"/>
              <ac:spMk id="8" creationId="{B746244C-38DC-6B5F-95D7-AEC64767881F}"/>
            </ac:spMkLst>
          </pc:spChg>
          <pc:spChg chg="add mod">
            <ac:chgData name="Yaroslav Zhydyk" userId="feca11449df7c5ed" providerId="LiveId" clId="{186FDB4A-D0D0-446A-9945-6468067BA58C}" dt="2022-10-29T12:58:00.690" v="420"/>
            <ac:spMkLst>
              <pc:docMk/>
              <pc:sldMasterMk cId="3463494952" sldId="2147483660"/>
              <pc:sldLayoutMk cId="953478930" sldId="2147483661"/>
              <ac:spMk id="9" creationId="{F8B3AA32-AEC3-491C-164F-DE89B0FDC30B}"/>
            </ac:spMkLst>
          </pc:spChg>
          <pc:graphicFrameChg chg="add mod modVis replST">
            <ac:chgData name="Yaroslav Zhydyk" userId="feca11449df7c5ed" providerId="LiveId" clId="{186FDB4A-D0D0-446A-9945-6468067BA58C}" dt="2022-10-29T12:58:00.690" v="420"/>
            <ac:graphicFrameMkLst>
              <pc:docMk/>
              <pc:sldMasterMk cId="3463494952" sldId="2147483660"/>
              <pc:sldLayoutMk cId="953478930" sldId="2147483661"/>
              <ac:graphicFrameMk id="7" creationId="{43D7CE9C-21BD-5C8E-A9FE-87992F5FAB4B}"/>
            </ac:graphicFrameMkLst>
          </pc:graphicFrameChg>
        </pc:sldLayoutChg>
        <pc:sldLayoutChg chg="modSp add mod modTransition">
          <pc:chgData name="Yaroslav Zhydyk" userId="feca11449df7c5ed" providerId="LiveId" clId="{186FDB4A-D0D0-446A-9945-6468067BA58C}" dt="2022-10-29T12:58:00.690" v="420"/>
          <pc:sldLayoutMkLst>
            <pc:docMk/>
            <pc:sldMasterMk cId="3463494952" sldId="2147483660"/>
            <pc:sldLayoutMk cId="392322286" sldId="2147483662"/>
          </pc:sldLayoutMkLst>
          <pc:spChg chg="mod">
            <ac:chgData name="Yaroslav Zhydyk" userId="feca11449df7c5ed" providerId="LiveId" clId="{186FDB4A-D0D0-446A-9945-6468067BA58C}" dt="2022-10-29T12:58:00.690" v="420"/>
            <ac:spMkLst>
              <pc:docMk/>
              <pc:sldMasterMk cId="3463494952" sldId="2147483660"/>
              <pc:sldLayoutMk cId="392322286" sldId="2147483662"/>
              <ac:spMk id="9" creationId="{F8B3AA32-AEC3-491C-164F-DE89B0FDC30B}"/>
            </ac:spMkLst>
          </pc:spChg>
          <pc:graphicFrameChg chg="mod">
            <ac:chgData name="Yaroslav Zhydyk" userId="feca11449df7c5ed" providerId="LiveId" clId="{186FDB4A-D0D0-446A-9945-6468067BA58C}" dt="2022-10-29T12:58:00.690" v="420"/>
            <ac:graphicFrameMkLst>
              <pc:docMk/>
              <pc:sldMasterMk cId="3463494952" sldId="2147483660"/>
              <pc:sldLayoutMk cId="392322286" sldId="2147483662"/>
              <ac:graphicFrameMk id="7" creationId="{43D7CE9C-21BD-5C8E-A9FE-87992F5FAB4B}"/>
            </ac:graphicFrameMkLst>
          </pc:graphicFrameChg>
        </pc:sldLayoutChg>
        <pc:sldLayoutChg chg="modSp del">
          <pc:chgData name="Yaroslav Zhydyk" userId="feca11449df7c5ed" providerId="LiveId" clId="{186FDB4A-D0D0-446A-9945-6468067BA58C}" dt="2022-10-29T10:42:08.822" v="84" actId="2696"/>
          <pc:sldLayoutMkLst>
            <pc:docMk/>
            <pc:sldMasterMk cId="3463494952" sldId="2147483660"/>
            <pc:sldLayoutMk cId="4279675931" sldId="2147483662"/>
          </pc:sldLayoutMkLst>
        </pc:sldLayoutChg>
        <pc:sldLayoutChg chg="modSp del">
          <pc:chgData name="Yaroslav Zhydyk" userId="feca11449df7c5ed" providerId="LiveId" clId="{186FDB4A-D0D0-446A-9945-6468067BA58C}" dt="2022-10-29T10:42:09.154" v="86" actId="2696"/>
          <pc:sldLayoutMkLst>
            <pc:docMk/>
            <pc:sldMasterMk cId="3463494952" sldId="2147483660"/>
            <pc:sldLayoutMk cId="443708802" sldId="2147483663"/>
          </pc:sldLayoutMkLst>
        </pc:sldLayoutChg>
        <pc:sldLayoutChg chg="modSp del">
          <pc:chgData name="Yaroslav Zhydyk" userId="feca11449df7c5ed" providerId="LiveId" clId="{186FDB4A-D0D0-446A-9945-6468067BA58C}" dt="2022-10-29T10:42:09.523" v="88" actId="2696"/>
          <pc:sldLayoutMkLst>
            <pc:docMk/>
            <pc:sldMasterMk cId="3463494952" sldId="2147483660"/>
            <pc:sldLayoutMk cId="3031831387" sldId="2147483664"/>
          </pc:sldLayoutMkLst>
        </pc:sldLayoutChg>
        <pc:sldLayoutChg chg="modSp del">
          <pc:chgData name="Yaroslav Zhydyk" userId="feca11449df7c5ed" providerId="LiveId" clId="{186FDB4A-D0D0-446A-9945-6468067BA58C}" dt="2022-10-29T10:42:09.855" v="90" actId="2696"/>
          <pc:sldLayoutMkLst>
            <pc:docMk/>
            <pc:sldMasterMk cId="3463494952" sldId="2147483660"/>
            <pc:sldLayoutMk cId="3039250677" sldId="2147483665"/>
          </pc:sldLayoutMkLst>
        </pc:sldLayoutChg>
        <pc:sldLayoutChg chg="modSp del">
          <pc:chgData name="Yaroslav Zhydyk" userId="feca11449df7c5ed" providerId="LiveId" clId="{186FDB4A-D0D0-446A-9945-6468067BA58C}" dt="2022-10-29T10:42:10.205" v="92" actId="2696"/>
          <pc:sldLayoutMkLst>
            <pc:docMk/>
            <pc:sldMasterMk cId="3463494952" sldId="2147483660"/>
            <pc:sldLayoutMk cId="961075186" sldId="2147483666"/>
          </pc:sldLayoutMkLst>
        </pc:sldLayoutChg>
        <pc:sldLayoutChg chg="modSp del">
          <pc:chgData name="Yaroslav Zhydyk" userId="feca11449df7c5ed" providerId="LiveId" clId="{186FDB4A-D0D0-446A-9945-6468067BA58C}" dt="2022-10-29T10:42:10.556" v="94" actId="2696"/>
          <pc:sldLayoutMkLst>
            <pc:docMk/>
            <pc:sldMasterMk cId="3463494952" sldId="2147483660"/>
            <pc:sldLayoutMk cId="3772621187" sldId="2147483667"/>
          </pc:sldLayoutMkLst>
        </pc:sldLayoutChg>
        <pc:sldLayoutChg chg="modSp del">
          <pc:chgData name="Yaroslav Zhydyk" userId="feca11449df7c5ed" providerId="LiveId" clId="{186FDB4A-D0D0-446A-9945-6468067BA58C}" dt="2022-10-29T10:42:10.973" v="96" actId="2696"/>
          <pc:sldLayoutMkLst>
            <pc:docMk/>
            <pc:sldMasterMk cId="3463494952" sldId="2147483660"/>
            <pc:sldLayoutMk cId="707943317" sldId="2147483668"/>
          </pc:sldLayoutMkLst>
        </pc:sldLayoutChg>
        <pc:sldLayoutChg chg="modSp del">
          <pc:chgData name="Yaroslav Zhydyk" userId="feca11449df7c5ed" providerId="LiveId" clId="{186FDB4A-D0D0-446A-9945-6468067BA58C}" dt="2022-10-29T10:42:11.237" v="98" actId="2696"/>
          <pc:sldLayoutMkLst>
            <pc:docMk/>
            <pc:sldMasterMk cId="3463494952" sldId="2147483660"/>
            <pc:sldLayoutMk cId="633934013" sldId="2147483669"/>
          </pc:sldLayoutMkLst>
        </pc:sldLayoutChg>
        <pc:sldLayoutChg chg="modSp del">
          <pc:chgData name="Yaroslav Zhydyk" userId="feca11449df7c5ed" providerId="LiveId" clId="{186FDB4A-D0D0-446A-9945-6468067BA58C}" dt="2022-10-29T10:42:11.687" v="100" actId="2696"/>
          <pc:sldLayoutMkLst>
            <pc:docMk/>
            <pc:sldMasterMk cId="3463494952" sldId="2147483660"/>
            <pc:sldLayoutMk cId="2137727618" sldId="2147483670"/>
          </pc:sldLayoutMkLst>
        </pc:sldLayoutChg>
        <pc:sldLayoutChg chg="modSp del">
          <pc:chgData name="Yaroslav Zhydyk" userId="feca11449df7c5ed" providerId="LiveId" clId="{186FDB4A-D0D0-446A-9945-6468067BA58C}" dt="2022-10-29T10:42:12.104" v="102" actId="2696"/>
          <pc:sldLayoutMkLst>
            <pc:docMk/>
            <pc:sldMasterMk cId="3463494952" sldId="2147483660"/>
            <pc:sldLayoutMk cId="2142407464" sldId="2147483671"/>
          </pc:sldLayoutMkLst>
        </pc:sldLayoutChg>
      </pc:sldMasterChg>
      <pc:sldMasterChg chg="addSp delSp modSp mod delSldLayout modSldLayout">
        <pc:chgData name="Yaroslav Zhydyk" userId="feca11449df7c5ed" providerId="LiveId" clId="{186FDB4A-D0D0-446A-9945-6468067BA58C}" dt="2022-10-29T13:45:44.006" v="1164"/>
        <pc:sldMasterMkLst>
          <pc:docMk/>
          <pc:sldMasterMk cId="1709005174" sldId="2147483663"/>
        </pc:sldMasterMkLst>
        <pc:spChg chg="mod">
          <ac:chgData name="Yaroslav Zhydyk" userId="feca11449df7c5ed" providerId="LiveId" clId="{186FDB4A-D0D0-446A-9945-6468067BA58C}" dt="2022-10-29T12:58:18.809" v="848" actId="948"/>
          <ac:spMkLst>
            <pc:docMk/>
            <pc:sldMasterMk cId="1709005174" sldId="2147483663"/>
            <ac:spMk id="2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2:58:01.248" v="462"/>
          <ac:spMkLst>
            <pc:docMk/>
            <pc:sldMasterMk cId="1709005174" sldId="2147483663"/>
            <ac:spMk id="8" creationId="{17429368-CB58-581F-E84A-065422ADEF27}"/>
          </ac:spMkLst>
        </pc:spChg>
        <pc:spChg chg="add del mod modVis">
          <ac:chgData name="Yaroslav Zhydyk" userId="feca11449df7c5ed" providerId="LiveId" clId="{186FDB4A-D0D0-446A-9945-6468067BA58C}" dt="2022-10-29T12:58:19.034" v="1069"/>
          <ac:spMkLst>
            <pc:docMk/>
            <pc:sldMasterMk cId="1709005174" sldId="2147483663"/>
            <ac:spMk id="9" creationId="{8067F82A-86E0-D525-2F04-39D75B74371E}"/>
          </ac:spMkLst>
        </pc:spChg>
        <pc:graphicFrameChg chg="add mod">
          <ac:chgData name="Yaroslav Zhydyk" userId="feca11449df7c5ed" providerId="LiveId" clId="{186FDB4A-D0D0-446A-9945-6468067BA58C}" dt="2022-10-29T12:58:19.036" v="1071"/>
          <ac:graphicFrameMkLst>
            <pc:docMk/>
            <pc:sldMasterMk cId="1709005174" sldId="2147483663"/>
            <ac:graphicFrameMk id="7" creationId="{571FC2F1-1292-F928-E633-E5BBFA8A46D0}"/>
          </ac:graphicFrameMkLst>
        </pc:graphicFrameChg>
        <pc:sldLayoutChg chg="addSp delSp modSp del mod">
          <pc:chgData name="Yaroslav Zhydyk" userId="feca11449df7c5ed" providerId="LiveId" clId="{186FDB4A-D0D0-446A-9945-6468067BA58C}" dt="2022-10-29T13:45:38.658" v="1143" actId="2696"/>
          <pc:sldLayoutMkLst>
            <pc:docMk/>
            <pc:sldMasterMk cId="1709005174" sldId="2147483663"/>
            <pc:sldLayoutMk cId="2477718418" sldId="2147483664"/>
          </pc:sldLayoutMkLst>
          <pc:spChg chg="mod">
            <ac:chgData name="Yaroslav Zhydyk" userId="feca11449df7c5ed" providerId="LiveId" clId="{186FDB4A-D0D0-446A-9945-6468067BA58C}" dt="2022-10-29T12:58:18.675" v="657" actId="948"/>
            <ac:spMkLst>
              <pc:docMk/>
              <pc:sldMasterMk cId="1709005174" sldId="2147483663"/>
              <pc:sldLayoutMk cId="2477718418" sldId="2147483664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45" v="979"/>
            <ac:spMkLst>
              <pc:docMk/>
              <pc:sldMasterMk cId="1709005174" sldId="2147483663"/>
              <pc:sldLayoutMk cId="2477718418" sldId="2147483664"/>
              <ac:spMk id="7" creationId="{AD5C3228-E62E-0E72-5CC8-5F8E2FB334B9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61" v="995"/>
            <ac:graphicFrameMkLst>
              <pc:docMk/>
              <pc:sldMasterMk cId="1709005174" sldId="2147483663"/>
              <pc:sldLayoutMk cId="2477718418" sldId="2147483664"/>
              <ac:graphicFrameMk id="8" creationId="{28511520-8A2A-9F7B-00DF-48F9C0B7F3FD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027" v="1145" actId="2696"/>
          <pc:sldLayoutMkLst>
            <pc:docMk/>
            <pc:sldMasterMk cId="1709005174" sldId="2147483663"/>
            <pc:sldLayoutMk cId="3449835006" sldId="2147483665"/>
          </pc:sldLayoutMkLst>
          <pc:spChg chg="mod">
            <ac:chgData name="Yaroslav Zhydyk" userId="feca11449df7c5ed" providerId="LiveId" clId="{186FDB4A-D0D0-446A-9945-6468067BA58C}" dt="2022-10-29T12:58:18.786" v="810" actId="948"/>
            <ac:spMkLst>
              <pc:docMk/>
              <pc:sldMasterMk cId="1709005174" sldId="2147483663"/>
              <pc:sldLayoutMk cId="3449835006" sldId="2147483665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9.014" v="1051"/>
            <ac:spMkLst>
              <pc:docMk/>
              <pc:sldMasterMk cId="1709005174" sldId="2147483663"/>
              <pc:sldLayoutMk cId="3449835006" sldId="2147483665"/>
              <ac:spMk id="7" creationId="{8ECC325E-CE25-27B3-C5AF-AD80271EC3D0}"/>
            </ac:spMkLst>
          </pc:spChg>
          <pc:graphicFrameChg chg="add mod ord modVis replST">
            <ac:chgData name="Yaroslav Zhydyk" userId="feca11449df7c5ed" providerId="LiveId" clId="{186FDB4A-D0D0-446A-9945-6468067BA58C}" dt="2022-10-29T12:58:19.033" v="1067"/>
            <ac:graphicFrameMkLst>
              <pc:docMk/>
              <pc:sldMasterMk cId="1709005174" sldId="2147483663"/>
              <pc:sldLayoutMk cId="3449835006" sldId="2147483665"/>
              <ac:graphicFrameMk id="8" creationId="{874F45DC-C0BC-B16D-9658-ED5E8DB47965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359" v="1147" actId="2696"/>
          <pc:sldLayoutMkLst>
            <pc:docMk/>
            <pc:sldMasterMk cId="1709005174" sldId="2147483663"/>
            <pc:sldLayoutMk cId="952725367" sldId="2147483666"/>
          </pc:sldLayoutMkLst>
          <pc:spChg chg="mod">
            <ac:chgData name="Yaroslav Zhydyk" userId="feca11449df7c5ed" providerId="LiveId" clId="{186FDB4A-D0D0-446A-9945-6468067BA58C}" dt="2022-10-29T12:58:18.506" v="467" actId="948"/>
            <ac:spMkLst>
              <pc:docMk/>
              <pc:sldMasterMk cId="1709005174" sldId="2147483663"/>
              <pc:sldLayoutMk cId="952725367" sldId="2147483666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35" v="889"/>
            <ac:spMkLst>
              <pc:docMk/>
              <pc:sldMasterMk cId="1709005174" sldId="2147483663"/>
              <pc:sldLayoutMk cId="952725367" sldId="2147483666"/>
              <ac:spMk id="7" creationId="{99F8E19C-1A46-345D-F86A-028853F7DD49}"/>
            </ac:spMkLst>
          </pc:spChg>
          <pc:graphicFrameChg chg="add mod ord modVis replST">
            <ac:chgData name="Yaroslav Zhydyk" userId="feca11449df7c5ed" providerId="LiveId" clId="{186FDB4A-D0D0-446A-9945-6468067BA58C}" dt="2022-10-29T12:58:18.880" v="905"/>
            <ac:graphicFrameMkLst>
              <pc:docMk/>
              <pc:sldMasterMk cId="1709005174" sldId="2147483663"/>
              <pc:sldLayoutMk cId="952725367" sldId="2147483666"/>
              <ac:graphicFrameMk id="8" creationId="{D8984B61-2C3C-CB0B-90AB-FE97A9839F7F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676" v="1149" actId="2696"/>
          <pc:sldLayoutMkLst>
            <pc:docMk/>
            <pc:sldMasterMk cId="1709005174" sldId="2147483663"/>
            <pc:sldLayoutMk cId="2205209650" sldId="2147483667"/>
          </pc:sldLayoutMkLst>
          <pc:spChg chg="mod">
            <ac:chgData name="Yaroslav Zhydyk" userId="feca11449df7c5ed" providerId="LiveId" clId="{186FDB4A-D0D0-446A-9945-6468067BA58C}" dt="2022-10-29T12:58:18.563" v="505" actId="948"/>
            <ac:spMkLst>
              <pc:docMk/>
              <pc:sldMasterMk cId="1709005174" sldId="2147483663"/>
              <pc:sldLayoutMk cId="2205209650" sldId="2147483667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81" v="907"/>
            <ac:spMkLst>
              <pc:docMk/>
              <pc:sldMasterMk cId="1709005174" sldId="2147483663"/>
              <pc:sldLayoutMk cId="2205209650" sldId="2147483667"/>
              <ac:spMk id="8" creationId="{72EDA9A0-5E90-34B7-CA2A-1C981346B644}"/>
            </ac:spMkLst>
          </pc:spChg>
          <pc:graphicFrameChg chg="add mod ord modVis replST">
            <ac:chgData name="Yaroslav Zhydyk" userId="feca11449df7c5ed" providerId="LiveId" clId="{186FDB4A-D0D0-446A-9945-6468067BA58C}" dt="2022-10-29T12:58:18.895" v="923"/>
            <ac:graphicFrameMkLst>
              <pc:docMk/>
              <pc:sldMasterMk cId="1709005174" sldId="2147483663"/>
              <pc:sldLayoutMk cId="2205209650" sldId="2147483667"/>
              <ac:graphicFrameMk id="9" creationId="{BD4C8398-1844-B957-6F8E-B275E4D3C21A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39.977" v="1151" actId="2696"/>
          <pc:sldLayoutMkLst>
            <pc:docMk/>
            <pc:sldMasterMk cId="1709005174" sldId="2147483663"/>
            <pc:sldLayoutMk cId="3409368535" sldId="2147483668"/>
          </pc:sldLayoutMkLst>
          <pc:spChg chg="mod">
            <ac:chgData name="Yaroslav Zhydyk" userId="feca11449df7c5ed" providerId="LiveId" clId="{186FDB4A-D0D0-446A-9945-6468067BA58C}" dt="2022-10-29T12:58:18.625" v="581" actId="948"/>
            <ac:spMkLst>
              <pc:docMk/>
              <pc:sldMasterMk cId="1709005174" sldId="2147483663"/>
              <pc:sldLayoutMk cId="3409368535" sldId="2147483668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16" v="943"/>
            <ac:spMkLst>
              <pc:docMk/>
              <pc:sldMasterMk cId="1709005174" sldId="2147483663"/>
              <pc:sldLayoutMk cId="3409368535" sldId="2147483668"/>
              <ac:spMk id="10" creationId="{7E5D028C-0354-46FD-4B01-92E33CA4F2CF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29" v="959"/>
            <ac:graphicFrameMkLst>
              <pc:docMk/>
              <pc:sldMasterMk cId="1709005174" sldId="2147483663"/>
              <pc:sldLayoutMk cId="3409368535" sldId="2147483668"/>
              <ac:graphicFrameMk id="11" creationId="{1EB6ACD9-0F22-DAFA-B0D4-EDB991C1B34B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0.277" v="1153" actId="2696"/>
          <pc:sldLayoutMkLst>
            <pc:docMk/>
            <pc:sldMasterMk cId="1709005174" sldId="2147483663"/>
            <pc:sldLayoutMk cId="2592754754" sldId="2147483669"/>
          </pc:sldLayoutMkLst>
          <pc:spChg chg="mod">
            <ac:chgData name="Yaroslav Zhydyk" userId="feca11449df7c5ed" providerId="LiveId" clId="{186FDB4A-D0D0-446A-9945-6468067BA58C}" dt="2022-10-29T12:58:18.705" v="695" actId="948"/>
            <ac:spMkLst>
              <pc:docMk/>
              <pc:sldMasterMk cId="1709005174" sldId="2147483663"/>
              <pc:sldLayoutMk cId="2592754754" sldId="2147483669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62" v="997"/>
            <ac:spMkLst>
              <pc:docMk/>
              <pc:sldMasterMk cId="1709005174" sldId="2147483663"/>
              <pc:sldLayoutMk cId="2592754754" sldId="2147483669"/>
              <ac:spMk id="6" creationId="{EE33D337-1C03-133E-6E61-A3AE9DC180D1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82" v="1013"/>
            <ac:graphicFrameMkLst>
              <pc:docMk/>
              <pc:sldMasterMk cId="1709005174" sldId="2147483663"/>
              <pc:sldLayoutMk cId="2592754754" sldId="2147483669"/>
              <ac:graphicFrameMk id="7" creationId="{9EF35F49-00BA-D75D-6BAB-6480E9FFE6F0}"/>
            </ac:graphicFrameMkLst>
          </pc:graphicFrameChg>
        </pc:sldLayoutChg>
        <pc:sldLayoutChg chg="modSp del">
          <pc:chgData name="Yaroslav Zhydyk" userId="feca11449df7c5ed" providerId="LiveId" clId="{186FDB4A-D0D0-446A-9945-6468067BA58C}" dt="2022-10-29T13:45:40.593" v="1155" actId="2696"/>
          <pc:sldLayoutMkLst>
            <pc:docMk/>
            <pc:sldMasterMk cId="1709005174" sldId="2147483663"/>
            <pc:sldLayoutMk cId="1489045633" sldId="2147483670"/>
          </pc:sldLayoutMkLst>
        </pc:sldLayoutChg>
        <pc:sldLayoutChg chg="addSp delSp modSp del mod">
          <pc:chgData name="Yaroslav Zhydyk" userId="feca11449df7c5ed" providerId="LiveId" clId="{186FDB4A-D0D0-446A-9945-6468067BA58C}" dt="2022-10-29T13:45:40.892" v="1157" actId="2696"/>
          <pc:sldLayoutMkLst>
            <pc:docMk/>
            <pc:sldMasterMk cId="1709005174" sldId="2147483663"/>
            <pc:sldLayoutMk cId="3473504790" sldId="2147483671"/>
          </pc:sldLayoutMkLst>
          <pc:spChg chg="mod">
            <ac:chgData name="Yaroslav Zhydyk" userId="feca11449df7c5ed" providerId="LiveId" clId="{186FDB4A-D0D0-446A-9945-6468067BA58C}" dt="2022-10-29T12:58:18.729" v="733" actId="948"/>
            <ac:spMkLst>
              <pc:docMk/>
              <pc:sldMasterMk cId="1709005174" sldId="2147483663"/>
              <pc:sldLayoutMk cId="3473504790" sldId="2147483671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83" v="1015"/>
            <ac:spMkLst>
              <pc:docMk/>
              <pc:sldMasterMk cId="1709005174" sldId="2147483663"/>
              <pc:sldLayoutMk cId="3473504790" sldId="2147483671"/>
              <ac:spMk id="8" creationId="{E7C3E8D5-DF13-5E73-CB06-889DC7476DE0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98" v="1031"/>
            <ac:graphicFrameMkLst>
              <pc:docMk/>
              <pc:sldMasterMk cId="1709005174" sldId="2147483663"/>
              <pc:sldLayoutMk cId="3473504790" sldId="2147483671"/>
              <ac:graphicFrameMk id="9" creationId="{2A58AE98-2E72-7165-D006-8275DC408277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1.275" v="1159" actId="2696"/>
          <pc:sldLayoutMkLst>
            <pc:docMk/>
            <pc:sldMasterMk cId="1709005174" sldId="2147483663"/>
            <pc:sldLayoutMk cId="2243056961" sldId="2147483672"/>
          </pc:sldLayoutMkLst>
          <pc:spChg chg="mod">
            <ac:chgData name="Yaroslav Zhydyk" userId="feca11449df7c5ed" providerId="LiveId" clId="{186FDB4A-D0D0-446A-9945-6468067BA58C}" dt="2022-10-29T12:58:18.589" v="543" actId="948"/>
            <ac:spMkLst>
              <pc:docMk/>
              <pc:sldMasterMk cId="1709005174" sldId="2147483663"/>
              <pc:sldLayoutMk cId="2243056961" sldId="2147483672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896" v="925"/>
            <ac:spMkLst>
              <pc:docMk/>
              <pc:sldMasterMk cId="1709005174" sldId="2147483663"/>
              <pc:sldLayoutMk cId="2243056961" sldId="2147483672"/>
              <ac:spMk id="8" creationId="{5F4E4EF7-7EEF-C747-F2BE-91F7E88B461F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16" v="941"/>
            <ac:graphicFrameMkLst>
              <pc:docMk/>
              <pc:sldMasterMk cId="1709005174" sldId="2147483663"/>
              <pc:sldLayoutMk cId="2243056961" sldId="2147483672"/>
              <ac:graphicFrameMk id="9" creationId="{1229197A-D411-83EE-EDE0-B3A612859CD9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1.645" v="1161" actId="2696"/>
          <pc:sldLayoutMkLst>
            <pc:docMk/>
            <pc:sldMasterMk cId="1709005174" sldId="2147483663"/>
            <pc:sldLayoutMk cId="1699327558" sldId="2147483673"/>
          </pc:sldLayoutMkLst>
          <pc:spChg chg="mod">
            <ac:chgData name="Yaroslav Zhydyk" userId="feca11449df7c5ed" providerId="LiveId" clId="{186FDB4A-D0D0-446A-9945-6468067BA58C}" dt="2022-10-29T12:58:18.650" v="619" actId="948"/>
            <ac:spMkLst>
              <pc:docMk/>
              <pc:sldMasterMk cId="1709005174" sldId="2147483663"/>
              <pc:sldLayoutMk cId="1699327558" sldId="2147483673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30" v="961"/>
            <ac:spMkLst>
              <pc:docMk/>
              <pc:sldMasterMk cId="1709005174" sldId="2147483663"/>
              <pc:sldLayoutMk cId="1699327558" sldId="2147483673"/>
              <ac:spMk id="7" creationId="{8F2FD826-69E9-203A-1E40-B760574102F6}"/>
            </ac:spMkLst>
          </pc:spChg>
          <pc:graphicFrameChg chg="add mod ord modVis replST">
            <ac:chgData name="Yaroslav Zhydyk" userId="feca11449df7c5ed" providerId="LiveId" clId="{186FDB4A-D0D0-446A-9945-6468067BA58C}" dt="2022-10-29T12:58:18.945" v="977"/>
            <ac:graphicFrameMkLst>
              <pc:docMk/>
              <pc:sldMasterMk cId="1709005174" sldId="2147483663"/>
              <pc:sldLayoutMk cId="1699327558" sldId="2147483673"/>
              <ac:graphicFrameMk id="8" creationId="{1838FF33-46CC-627B-2A2A-252B9A5E1ECC}"/>
            </ac:graphicFrameMkLst>
          </pc:graphicFrameChg>
        </pc:sldLayoutChg>
        <pc:sldLayoutChg chg="addSp delSp modSp del mod">
          <pc:chgData name="Yaroslav Zhydyk" userId="feca11449df7c5ed" providerId="LiveId" clId="{186FDB4A-D0D0-446A-9945-6468067BA58C}" dt="2022-10-29T13:45:42.162" v="1163" actId="2696"/>
          <pc:sldLayoutMkLst>
            <pc:docMk/>
            <pc:sldMasterMk cId="1709005174" sldId="2147483663"/>
            <pc:sldLayoutMk cId="2777954138" sldId="2147483674"/>
          </pc:sldLayoutMkLst>
          <pc:spChg chg="mod">
            <ac:chgData name="Yaroslav Zhydyk" userId="feca11449df7c5ed" providerId="LiveId" clId="{186FDB4A-D0D0-446A-9945-6468067BA58C}" dt="2022-10-29T12:58:18.756" v="771" actId="948"/>
            <ac:spMkLst>
              <pc:docMk/>
              <pc:sldMasterMk cId="1709005174" sldId="2147483663"/>
              <pc:sldLayoutMk cId="2777954138" sldId="2147483674"/>
              <ac:spMk id="2" creationId="{00000000-0000-0000-0000-000000000000}"/>
            </ac:spMkLst>
          </pc:spChg>
          <pc:spChg chg="add del mod modVis">
            <ac:chgData name="Yaroslav Zhydyk" userId="feca11449df7c5ed" providerId="LiveId" clId="{186FDB4A-D0D0-446A-9945-6468067BA58C}" dt="2022-10-29T12:58:18.999" v="1033"/>
            <ac:spMkLst>
              <pc:docMk/>
              <pc:sldMasterMk cId="1709005174" sldId="2147483663"/>
              <pc:sldLayoutMk cId="2777954138" sldId="2147483674"/>
              <ac:spMk id="7" creationId="{78D419A1-D40B-829D-BC6B-329AA616921D}"/>
            </ac:spMkLst>
          </pc:spChg>
          <pc:graphicFrameChg chg="add mod ord modVis replST">
            <ac:chgData name="Yaroslav Zhydyk" userId="feca11449df7c5ed" providerId="LiveId" clId="{186FDB4A-D0D0-446A-9945-6468067BA58C}" dt="2022-10-29T12:58:19.013" v="1049"/>
            <ac:graphicFrameMkLst>
              <pc:docMk/>
              <pc:sldMasterMk cId="1709005174" sldId="2147483663"/>
              <pc:sldLayoutMk cId="2777954138" sldId="2147483674"/>
              <ac:graphicFrameMk id="8" creationId="{D5FE33DF-67E1-958F-53B8-ED8739D009B6}"/>
            </ac:graphicFrameMkLst>
          </pc:graphicFrameChg>
        </pc:sldLayoutChg>
        <pc:sldLayoutChg chg="addSp delSp modSp mod">
          <pc:chgData name="Yaroslav Zhydyk" userId="feca11449df7c5ed" providerId="LiveId" clId="{186FDB4A-D0D0-446A-9945-6468067BA58C}" dt="2022-10-29T13:45:29.451" v="1141" actId="2085"/>
          <pc:sldLayoutMkLst>
            <pc:docMk/>
            <pc:sldMasterMk cId="1709005174" sldId="2147483663"/>
            <pc:sldLayoutMk cId="615811165" sldId="2147483675"/>
          </pc:sldLayoutMkLst>
          <pc:spChg chg="add mod">
            <ac:chgData name="Yaroslav Zhydyk" userId="feca11449df7c5ed" providerId="LiveId" clId="{186FDB4A-D0D0-446A-9945-6468067BA58C}" dt="2022-10-29T13:45:29.451" v="1141" actId="2085"/>
            <ac:spMkLst>
              <pc:docMk/>
              <pc:sldMasterMk cId="1709005174" sldId="2147483663"/>
              <pc:sldLayoutMk cId="615811165" sldId="2147483675"/>
              <ac:spMk id="3" creationId="{2739835D-2FB8-2BC0-BB79-BF537C48E4C8}"/>
            </ac:spMkLst>
          </pc:spChg>
          <pc:graphicFrameChg chg="mod">
            <ac:chgData name="Yaroslav Zhydyk" userId="feca11449df7c5ed" providerId="LiveId" clId="{186FDB4A-D0D0-446A-9945-6468067BA58C}" dt="2022-10-29T12:58:19.039" v="1075"/>
            <ac:graphicFrameMkLst>
              <pc:docMk/>
              <pc:sldMasterMk cId="1709005174" sldId="2147483663"/>
              <pc:sldLayoutMk cId="615811165" sldId="2147483675"/>
              <ac:graphicFrameMk id="7" creationId="{43D7CE9C-21BD-5C8E-A9FE-87992F5FAB4B}"/>
            </ac:graphicFrameMkLst>
          </pc:graphicFrameChg>
          <pc:picChg chg="add del mod">
            <ac:chgData name="Yaroslav Zhydyk" userId="feca11449df7c5ed" providerId="LiveId" clId="{186FDB4A-D0D0-446A-9945-6468067BA58C}" dt="2022-10-29T13:42:39.956" v="1085" actId="478"/>
            <ac:picMkLst>
              <pc:docMk/>
              <pc:sldMasterMk cId="1709005174" sldId="2147483663"/>
              <pc:sldLayoutMk cId="615811165" sldId="2147483675"/>
              <ac:picMk id="2" creationId="{24FA9423-714E-575E-6EF0-AC88BAA63A41}"/>
            </ac:picMkLst>
          </pc:picChg>
        </pc:sldLayoutChg>
        <pc:sldLayoutChg chg="addSp modSp mod">
          <pc:chgData name="Yaroslav Zhydyk" userId="feca11449df7c5ed" providerId="LiveId" clId="{186FDB4A-D0D0-446A-9945-6468067BA58C}" dt="2022-10-29T13:45:44.006" v="1164"/>
          <pc:sldLayoutMkLst>
            <pc:docMk/>
            <pc:sldMasterMk cId="1709005174" sldId="2147483663"/>
            <pc:sldLayoutMk cId="3612299126" sldId="2147483676"/>
          </pc:sldLayoutMkLst>
          <pc:spChg chg="add mod">
            <ac:chgData name="Yaroslav Zhydyk" userId="feca11449df7c5ed" providerId="LiveId" clId="{186FDB4A-D0D0-446A-9945-6468067BA58C}" dt="2022-10-29T13:45:44.006" v="1164"/>
            <ac:spMkLst>
              <pc:docMk/>
              <pc:sldMasterMk cId="1709005174" sldId="2147483663"/>
              <pc:sldLayoutMk cId="3612299126" sldId="2147483676"/>
              <ac:spMk id="2" creationId="{061A4290-5CB4-0293-4DCE-B1C4BA484A1E}"/>
            </ac:spMkLst>
          </pc:spChg>
          <pc:graphicFrameChg chg="mod">
            <ac:chgData name="Yaroslav Zhydyk" userId="feca11449df7c5ed" providerId="LiveId" clId="{186FDB4A-D0D0-446A-9945-6468067BA58C}" dt="2022-10-29T12:58:19.038" v="1073"/>
            <ac:graphicFrameMkLst>
              <pc:docMk/>
              <pc:sldMasterMk cId="1709005174" sldId="2147483663"/>
              <pc:sldLayoutMk cId="3612299126" sldId="2147483676"/>
              <ac:graphicFrameMk id="7" creationId="{43D7CE9C-21BD-5C8E-A9FE-87992F5FAB4B}"/>
            </ac:graphicFrameMkLst>
          </pc:graphicFrameChg>
        </pc:sldLayoutChg>
      </pc:sldMasterChg>
      <pc:sldMasterChg chg="addSp delSp modSp mod">
        <pc:chgData name="Yaroslav Zhydyk" userId="feca11449df7c5ed" providerId="LiveId" clId="{186FDB4A-D0D0-446A-9945-6468067BA58C}" dt="2022-10-29T12:57:35.180" v="417"/>
        <pc:sldMasterMkLst>
          <pc:docMk/>
          <pc:sldMasterMk cId="4053188614" sldId="2147483663"/>
        </pc:sldMasterMkLst>
        <pc:spChg chg="mod">
          <ac:chgData name="Yaroslav Zhydyk" userId="feca11449df7c5ed" providerId="LiveId" clId="{186FDB4A-D0D0-446A-9945-6468067BA58C}" dt="2022-10-29T12:57:35.180" v="417"/>
          <ac:spMkLst>
            <pc:docMk/>
            <pc:sldMasterMk cId="4053188614" sldId="2147483663"/>
            <ac:spMk id="2" creationId="{00000000-0000-0000-0000-000000000000}"/>
          </ac:spMkLst>
        </pc:spChg>
        <pc:spChg chg="add del mod modVis">
          <ac:chgData name="Yaroslav Zhydyk" userId="feca11449df7c5ed" providerId="LiveId" clId="{186FDB4A-D0D0-446A-9945-6468067BA58C}" dt="2022-10-29T12:57:35.180" v="417"/>
          <ac:spMkLst>
            <pc:docMk/>
            <pc:sldMasterMk cId="4053188614" sldId="2147483663"/>
            <ac:spMk id="8" creationId="{0433F8DC-D269-9EA9-7465-96AAB88C0591}"/>
          </ac:spMkLst>
        </pc:spChg>
        <pc:graphicFrameChg chg="mod">
          <ac:chgData name="Yaroslav Zhydyk" userId="feca11449df7c5ed" providerId="LiveId" clId="{186FDB4A-D0D0-446A-9945-6468067BA58C}" dt="2022-10-29T12:57:35.180" v="417"/>
          <ac:graphicFrameMkLst>
            <pc:docMk/>
            <pc:sldMasterMk cId="4053188614" sldId="2147483663"/>
            <ac:graphicFrameMk id="7" creationId="{BE629A9F-C26E-5F2C-A905-820C847EB149}"/>
          </ac:graphicFrameMkLst>
        </pc:graphicFrame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з одною фразо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3D7CE9C-21BD-5C8E-A9FE-87992F5FA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843098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3D7CE9C-21BD-5C8E-A9FE-87992F5FA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F8B3AA32-AEC3-491C-164F-DE89B0FDC3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2231923"/>
            <a:ext cx="10562167" cy="2113014"/>
          </a:xfr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None/>
              <a:defRPr sz="32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 err="1"/>
              <a:t>Дуже</a:t>
            </a:r>
            <a:r>
              <a:rPr lang="ru-RU" dirty="0"/>
              <a:t> </a:t>
            </a:r>
            <a:r>
              <a:rPr lang="ru-RU" dirty="0" err="1"/>
              <a:t>розумна</a:t>
            </a:r>
            <a:r>
              <a:rPr lang="ru-RU" dirty="0"/>
              <a:t> фраза</a:t>
            </a:r>
            <a:endParaRPr lang="ru-UA" dirty="0"/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061A4290-5CB4-0293-4DCE-B1C4BA484A1E}"/>
              </a:ext>
            </a:extLst>
          </p:cNvPr>
          <p:cNvSpPr/>
          <p:nvPr userDrawn="1"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2299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513">
          <p15:clr>
            <a:srgbClr val="FBAE40"/>
          </p15:clr>
        </p15:guide>
        <p15:guide id="3" pos="7167">
          <p15:clr>
            <a:srgbClr val="FBAE40"/>
          </p15:clr>
        </p15:guide>
        <p15:guide id="4" orient="horz" pos="397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з контен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43D7CE9C-21BD-5C8E-A9FE-87992F5FA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4454685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43D7CE9C-21BD-5C8E-A9FE-87992F5FA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>
            <a:extLst>
              <a:ext uri="{FF2B5EF4-FFF2-40B4-BE49-F238E27FC236}">
                <a16:creationId xmlns:a16="http://schemas.microsoft.com/office/drawing/2014/main" id="{F8B3AA32-AEC3-491C-164F-DE89B0FDC30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4919" y="559106"/>
            <a:ext cx="10562167" cy="1080000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latin typeface="+mj-lt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ru-RU" dirty="0"/>
              <a:t>Заголовок для </a:t>
            </a:r>
            <a:r>
              <a:rPr lang="ru-RU" dirty="0" err="1"/>
              <a:t>дуже</a:t>
            </a:r>
            <a:r>
              <a:rPr lang="ru-RU" dirty="0"/>
              <a:t> </a:t>
            </a:r>
            <a:r>
              <a:rPr lang="ru-RU" dirty="0" err="1"/>
              <a:t>розумного</a:t>
            </a:r>
            <a:r>
              <a:rPr lang="ru-RU" dirty="0"/>
              <a:t> слайду</a:t>
            </a:r>
            <a:endParaRPr lang="ru-UA" dirty="0"/>
          </a:p>
        </p:txBody>
      </p:sp>
      <p:sp>
        <p:nvSpPr>
          <p:cNvPr id="3" name="Овал 2">
            <a:extLst>
              <a:ext uri="{FF2B5EF4-FFF2-40B4-BE49-F238E27FC236}">
                <a16:creationId xmlns:a16="http://schemas.microsoft.com/office/drawing/2014/main" id="{2739835D-2FB8-2BC0-BB79-BF537C48E4C8}"/>
              </a:ext>
            </a:extLst>
          </p:cNvPr>
          <p:cNvSpPr/>
          <p:nvPr userDrawn="1"/>
        </p:nvSpPr>
        <p:spPr>
          <a:xfrm>
            <a:off x="9466117" y="4145972"/>
            <a:ext cx="2556000" cy="2556000"/>
          </a:xfrm>
          <a:prstGeom prst="ellipse">
            <a:avLst/>
          </a:prstGeom>
          <a:solidFill>
            <a:schemeClr val="bg1">
              <a:lumMod val="9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975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513">
          <p15:clr>
            <a:srgbClr val="FBAE40"/>
          </p15:clr>
        </p15:guide>
        <p15:guide id="3" pos="7167">
          <p15:clr>
            <a:srgbClr val="FBAE40"/>
          </p15:clr>
        </p15:guide>
        <p15:guide id="4" orient="horz" pos="3974">
          <p15:clr>
            <a:srgbClr val="FBAE40"/>
          </p15:clr>
        </p15:guide>
        <p15:guide id="5" orient="horz" pos="1026">
          <p15:clr>
            <a:srgbClr val="FBAE40"/>
          </p15:clr>
        </p15:guide>
        <p15:guide id="6" orient="horz" pos="134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81898-D24C-4212-88FA-65C169501C17}" type="datetimeFigureOut">
              <a:rPr lang="ru-UA" smtClean="0"/>
              <a:t>09.09.2023</a:t>
            </a:fld>
            <a:endParaRPr lang="ru-U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U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A97019-2E89-4F1E-AFCF-9B349F589BB2}" type="slidenum">
              <a:rPr lang="ru-UA" smtClean="0"/>
              <a:t>‹№›</a:t>
            </a:fld>
            <a:endParaRPr lang="ru-UA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71FC2F1-1292-F928-E633-E5BBFA8A46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64606430"/>
              </p:ext>
            </p:extLst>
          </p:nvPr>
        </p:nvGraphicFramePr>
        <p:xfrm>
          <a:off x="2116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9" imgH="499" progId="TCLayout.ActiveDocument.1">
                  <p:embed/>
                </p:oleObj>
              </mc:Choice>
              <mc:Fallback>
                <p:oleObj name="think-cell Slide" r:id="rId5" imgW="499" imgH="499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571FC2F1-1292-F928-E633-E5BBFA8A46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6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09005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B3E4F37-698F-423B-B473-5D927AB99B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B3E4F37-698F-423B-B473-5D927AB99B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71465413-A61B-484B-3274-3F9F60E5DEA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UA"/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68D5F1BF-947A-0F44-F59A-88E76FEA875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14920" y="2231923"/>
            <a:ext cx="9544816" cy="2113014"/>
          </a:xfrm>
        </p:spPr>
        <p:txBody>
          <a:bodyPr/>
          <a:lstStyle/>
          <a:p>
            <a:r>
              <a:rPr lang="ru-RU" sz="4800" dirty="0" err="1">
                <a:solidFill>
                  <a:schemeClr val="bg1"/>
                </a:solidFill>
              </a:rPr>
              <a:t>Розробка</a:t>
            </a:r>
            <a:r>
              <a:rPr lang="ru-RU" sz="4800" dirty="0">
                <a:solidFill>
                  <a:schemeClr val="bg1"/>
                </a:solidFill>
              </a:rPr>
              <a:t> </a:t>
            </a:r>
            <a:r>
              <a:rPr lang="ru-RU" sz="4800" dirty="0" err="1">
                <a:solidFill>
                  <a:schemeClr val="bg1"/>
                </a:solidFill>
              </a:rPr>
              <a:t>презентації</a:t>
            </a:r>
            <a:br>
              <a:rPr lang="ru-RU" sz="4800" dirty="0">
                <a:solidFill>
                  <a:schemeClr val="bg1"/>
                </a:solidFill>
              </a:rPr>
            </a:br>
            <a:r>
              <a:rPr lang="ru-RU" sz="4800" dirty="0">
                <a:solidFill>
                  <a:schemeClr val="bg1"/>
                </a:solidFill>
              </a:rPr>
              <a:t>кейсу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AFFE72B-B4B5-0580-154F-C04392A07F3D}"/>
              </a:ext>
            </a:extLst>
          </p:cNvPr>
          <p:cNvSpPr/>
          <p:nvPr/>
        </p:nvSpPr>
        <p:spPr>
          <a:xfrm>
            <a:off x="6463314" y="549275"/>
            <a:ext cx="540328" cy="540328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0</a:t>
            </a:r>
            <a:endParaRPr lang="ru-UA" dirty="0">
              <a:latin typeface="+mj-lt"/>
            </a:endParaRP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5FE7DACE-6813-BF9B-659A-4293B74087FE}"/>
              </a:ext>
            </a:extLst>
          </p:cNvPr>
          <p:cNvSpPr/>
          <p:nvPr/>
        </p:nvSpPr>
        <p:spPr>
          <a:xfrm>
            <a:off x="9642763" y="549275"/>
            <a:ext cx="1734849" cy="54000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dirty="0">
                <a:solidFill>
                  <a:schemeClr val="accent1"/>
                </a:solidFill>
                <a:latin typeface="+mj-lt"/>
              </a:rPr>
              <a:t>МОДУЛЬ 4</a:t>
            </a:r>
            <a:endParaRPr lang="ru-RU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8" name="Рисунок 7" descr="Зображення, що містить текст, картинка&#10;&#10;Автоматично згенерований опис">
            <a:extLst>
              <a:ext uri="{FF2B5EF4-FFF2-40B4-BE49-F238E27FC236}">
                <a16:creationId xmlns:a16="http://schemas.microsoft.com/office/drawing/2014/main" id="{A978FE94-4F11-C0BC-E3B1-ABA9D22840C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081" y="430381"/>
            <a:ext cx="2235492" cy="865135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990FB24F-163A-4FA8-0EA2-320C39A2A8C6}"/>
              </a:ext>
            </a:extLst>
          </p:cNvPr>
          <p:cNvSpPr/>
          <p:nvPr/>
        </p:nvSpPr>
        <p:spPr>
          <a:xfrm>
            <a:off x="709920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1</a:t>
            </a:r>
            <a:endParaRPr lang="ru-UA" dirty="0">
              <a:latin typeface="+mj-lt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CA70F889-CBA8-64C9-3A37-80280E176B9C}"/>
              </a:ext>
            </a:extLst>
          </p:cNvPr>
          <p:cNvSpPr/>
          <p:nvPr/>
        </p:nvSpPr>
        <p:spPr>
          <a:xfrm>
            <a:off x="773509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2</a:t>
            </a:r>
            <a:endParaRPr lang="ru-UA" dirty="0">
              <a:latin typeface="+mj-lt"/>
            </a:endParaRP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84E970ED-448F-42E6-D4D7-523B3D6E3E35}"/>
              </a:ext>
            </a:extLst>
          </p:cNvPr>
          <p:cNvSpPr/>
          <p:nvPr/>
        </p:nvSpPr>
        <p:spPr>
          <a:xfrm>
            <a:off x="900687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 err="1">
                <a:latin typeface="+mj-lt"/>
              </a:rPr>
              <a:t>дз</a:t>
            </a:r>
            <a:endParaRPr lang="ru-UA" dirty="0">
              <a:latin typeface="+mj-lt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D3A82A5F-CA17-2B7C-F634-E59E1BF90B0E}"/>
              </a:ext>
            </a:extLst>
          </p:cNvPr>
          <p:cNvSpPr/>
          <p:nvPr/>
        </p:nvSpPr>
        <p:spPr>
          <a:xfrm>
            <a:off x="8370984" y="549275"/>
            <a:ext cx="540328" cy="540328"/>
          </a:xfrm>
          <a:prstGeom prst="ellipse">
            <a:avLst/>
          </a:prstGeom>
          <a:solidFill>
            <a:schemeClr val="accent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dirty="0">
                <a:latin typeface="+mj-lt"/>
              </a:rPr>
              <a:t>3</a:t>
            </a:r>
            <a:endParaRPr lang="ru-UA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801418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576AE79-652B-18A8-31D9-28C2BC3EA1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576AE79-652B-18A8-31D9-28C2BC3EA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Текст 4">
            <a:extLst>
              <a:ext uri="{FF2B5EF4-FFF2-40B4-BE49-F238E27FC236}">
                <a16:creationId xmlns:a16="http://schemas.microsoft.com/office/drawing/2014/main" id="{805F823C-4B4D-4EC8-15D7-D1C57874B9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err="1">
                <a:solidFill>
                  <a:schemeClr val="accent1"/>
                </a:solidFill>
              </a:rPr>
              <a:t>Що</a:t>
            </a:r>
            <a:r>
              <a:rPr lang="ru-RU" dirty="0">
                <a:solidFill>
                  <a:schemeClr val="accent1"/>
                </a:solidFill>
              </a:rPr>
              <a:t> входить в модуль?</a:t>
            </a: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5D49FC6B-CE50-CC69-7152-4E3ED422AF9F}"/>
              </a:ext>
            </a:extLst>
          </p:cNvPr>
          <p:cNvSpPr txBox="1">
            <a:spLocks/>
          </p:cNvSpPr>
          <p:nvPr/>
        </p:nvSpPr>
        <p:spPr>
          <a:xfrm>
            <a:off x="814389" y="2133599"/>
            <a:ext cx="7716548" cy="4175125"/>
          </a:xfrm>
          <a:prstGeom prst="rect">
            <a:avLst/>
          </a:prstGeom>
        </p:spPr>
        <p:txBody>
          <a:bodyPr vert="horz" lIns="0" tIns="0" rIns="0" bIns="0" numCol="1" spcCol="36000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2400" dirty="0" err="1"/>
              <a:t>Ключові</a:t>
            </a:r>
            <a:r>
              <a:rPr lang="ru-RU" sz="2400" dirty="0"/>
              <a:t> правила </a:t>
            </a:r>
            <a:r>
              <a:rPr lang="ru-RU" sz="2400" dirty="0" err="1"/>
              <a:t>розробки</a:t>
            </a:r>
            <a:r>
              <a:rPr lang="ru-RU" sz="2400" dirty="0"/>
              <a:t> </a:t>
            </a:r>
            <a:r>
              <a:rPr lang="ru-RU" sz="2400" dirty="0" err="1"/>
              <a:t>презентацій</a:t>
            </a:r>
            <a:r>
              <a:rPr lang="ru-RU" sz="2400" dirty="0"/>
              <a:t> (</a:t>
            </a:r>
            <a:r>
              <a:rPr lang="ru-RU" sz="2400" dirty="0" err="1"/>
              <a:t>наповнення</a:t>
            </a:r>
            <a:r>
              <a:rPr lang="ru-RU" sz="2400" dirty="0"/>
              <a:t> + дизайн)</a:t>
            </a:r>
          </a:p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2400" dirty="0" err="1"/>
              <a:t>Готовий</a:t>
            </a:r>
            <a:r>
              <a:rPr lang="ru-RU" sz="2400" dirty="0"/>
              <a:t> шаблон </a:t>
            </a:r>
            <a:r>
              <a:rPr lang="ru-RU" sz="2400" dirty="0" err="1"/>
              <a:t>презентації</a:t>
            </a:r>
            <a:r>
              <a:rPr lang="ru-RU" sz="2400" dirty="0"/>
              <a:t> і як ним </a:t>
            </a:r>
            <a:r>
              <a:rPr lang="ru-RU" sz="2400" dirty="0" err="1"/>
              <a:t>користуватися</a:t>
            </a:r>
            <a:endParaRPr lang="ru-RU" sz="2400" dirty="0"/>
          </a:p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2400" dirty="0"/>
              <a:t>Алгоритм </a:t>
            </a:r>
            <a:r>
              <a:rPr lang="ru-RU" sz="2400" dirty="0" err="1"/>
              <a:t>роботи</a:t>
            </a:r>
            <a:r>
              <a:rPr lang="ru-RU" sz="2400" dirty="0"/>
              <a:t> в </a:t>
            </a:r>
            <a:r>
              <a:rPr lang="en-US" sz="2400" dirty="0"/>
              <a:t>PowerPoint</a:t>
            </a:r>
          </a:p>
          <a:p>
            <a:pPr marL="457200" indent="-457200">
              <a:spcAft>
                <a:spcPts val="1200"/>
              </a:spcAft>
              <a:buClr>
                <a:schemeClr val="accent5"/>
              </a:buClr>
              <a:buFont typeface="+mj-lt"/>
              <a:buAutoNum type="arabicPeriod"/>
            </a:pPr>
            <a:r>
              <a:rPr lang="ru-RU" sz="2400" dirty="0" err="1">
                <a:solidFill>
                  <a:schemeClr val="accent5"/>
                </a:solidFill>
              </a:rPr>
              <a:t>Зробіть</a:t>
            </a:r>
            <a:r>
              <a:rPr lang="ru-RU" sz="2400" dirty="0">
                <a:solidFill>
                  <a:schemeClr val="accent5"/>
                </a:solidFill>
              </a:rPr>
              <a:t> сторілайн </a:t>
            </a:r>
            <a:r>
              <a:rPr lang="ru-RU" sz="2400" dirty="0" err="1">
                <a:solidFill>
                  <a:schemeClr val="accent5"/>
                </a:solidFill>
              </a:rPr>
              <a:t>симпатичним</a:t>
            </a:r>
            <a:r>
              <a:rPr lang="ru-RU" sz="2400" dirty="0">
                <a:solidFill>
                  <a:schemeClr val="accent5"/>
                </a:solidFill>
              </a:rPr>
              <a:t> + скиньте </a:t>
            </a:r>
            <a:r>
              <a:rPr lang="ru-RU" sz="2400" dirty="0" err="1">
                <a:solidFill>
                  <a:schemeClr val="accent5"/>
                </a:solidFill>
              </a:rPr>
              <a:t>презентації</a:t>
            </a:r>
            <a:r>
              <a:rPr lang="ru-RU" sz="2400" dirty="0">
                <a:solidFill>
                  <a:schemeClr val="accent5"/>
                </a:solidFill>
              </a:rPr>
              <a:t> для </a:t>
            </a:r>
            <a:r>
              <a:rPr lang="ru-RU" sz="2400" dirty="0" err="1">
                <a:solidFill>
                  <a:schemeClr val="accent5"/>
                </a:solidFill>
              </a:rPr>
              <a:t>розбору</a:t>
            </a:r>
            <a:endParaRPr lang="ru-RU" sz="2400" dirty="0">
              <a:solidFill>
                <a:schemeClr val="accent5"/>
              </a:solidFill>
            </a:endParaRPr>
          </a:p>
        </p:txBody>
      </p:sp>
      <p:pic>
        <p:nvPicPr>
          <p:cNvPr id="1026" name="Picture 2" descr="Teacher on Apple iOS 15.4">
            <a:extLst>
              <a:ext uri="{FF2B5EF4-FFF2-40B4-BE49-F238E27FC236}">
                <a16:creationId xmlns:a16="http://schemas.microsoft.com/office/drawing/2014/main" id="{45DB58EF-8EF9-91C3-F836-CD10DA3914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388" y="4457387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61116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VDNG">
      <a:dk1>
        <a:sysClr val="windowText" lastClr="000000"/>
      </a:dk1>
      <a:lt1>
        <a:sysClr val="window" lastClr="FFFFFF"/>
      </a:lt1>
      <a:dk2>
        <a:srgbClr val="031912"/>
      </a:dk2>
      <a:lt2>
        <a:srgbClr val="0F3E24"/>
      </a:lt2>
      <a:accent1>
        <a:srgbClr val="56683B"/>
      </a:accent1>
      <a:accent2>
        <a:srgbClr val="3D301E"/>
      </a:accent2>
      <a:accent3>
        <a:srgbClr val="797162"/>
      </a:accent3>
      <a:accent4>
        <a:srgbClr val="A7A16E"/>
      </a:accent4>
      <a:accent5>
        <a:srgbClr val="C67A2E"/>
      </a:accent5>
      <a:accent6>
        <a:srgbClr val="DDCCB6"/>
      </a:accent6>
      <a:hlink>
        <a:srgbClr val="CA2110"/>
      </a:hlink>
      <a:folHlink>
        <a:srgbClr val="EFB400"/>
      </a:folHlink>
    </a:clrScheme>
    <a:fontScheme name="Навчання">
      <a:majorFont>
        <a:latin typeface="Ermilov"/>
        <a:ea typeface=""/>
        <a:cs typeface="Arial"/>
      </a:majorFont>
      <a:minorFont>
        <a:latin typeface="Roboto"/>
        <a:ea typeface=""/>
        <a:cs typeface="Arial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7</TotalTime>
  <Words>44</Words>
  <Application>Microsoft Office PowerPoint</Application>
  <PresentationFormat>Широкий екран</PresentationFormat>
  <Paragraphs>12</Paragraphs>
  <Slides>2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3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2</vt:i4>
      </vt:variant>
    </vt:vector>
  </HeadingPairs>
  <TitlesOfParts>
    <vt:vector size="7" baseType="lpstr">
      <vt:lpstr>Arial</vt:lpstr>
      <vt:lpstr>Ermilov</vt:lpstr>
      <vt:lpstr>Roboto</vt:lpstr>
      <vt:lpstr>Тема Office</vt:lpstr>
      <vt:lpstr>think-cell Slide</vt:lpstr>
      <vt:lpstr>Презентація PowerPoint</vt:lpstr>
      <vt:lpstr>Презентаці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Yaroslav Zhydyk</dc:creator>
  <cp:lastModifiedBy>Yaroslav Zhydyk</cp:lastModifiedBy>
  <cp:revision>1</cp:revision>
  <dcterms:created xsi:type="dcterms:W3CDTF">2022-10-29T10:41:43Z</dcterms:created>
  <dcterms:modified xsi:type="dcterms:W3CDTF">2023-09-09T08:06:48Z</dcterms:modified>
</cp:coreProperties>
</file>